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19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</p:sldMasterIdLst>
  <p:notesMasterIdLst>
    <p:notesMasterId r:id="rId13"/>
  </p:notesMasterIdLst>
  <p:sldIdLst>
    <p:sldId id="281" r:id="rId12"/>
  </p:sldIdLst>
  <p:sldSz cx="9144000" cy="5143500" type="screen16x9"/>
  <p:notesSz cx="6858000" cy="9144000"/>
  <p:embeddedFontLst>
    <p:embeddedFont>
      <p:font typeface="Exo" panose="020B0604020202020204" charset="0"/>
      <p:regular r:id="rId14"/>
      <p:bold r:id="rId15"/>
      <p:italic r:id="rId16"/>
      <p:boldItalic r:id="rId17"/>
    </p:embeddedFont>
    <p:embeddedFont>
      <p:font typeface="Playfair Display SemiBold" panose="020B0604020202020204" charset="0"/>
      <p:regular r:id="rId18"/>
      <p:bold r:id="rId19"/>
      <p:italic r:id="rId20"/>
      <p:boldItalic r:id="rId2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5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66" y="35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85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89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8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font" Target="fonts/font2.fntdata"/><Relationship Id="rId90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font" Target="fonts/font6.fntdata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font" Target="fonts/font1.fntdata"/></Relationships>
</file>

<file path=ppt/comments/modernComment_11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2BBB3C-BAAD-4869-9C94-43CC957B68E7}" authorId="{EC28B4B0-6701-2EAD-4AFD-41CFFF8EDE08}" created="2025-05-19T21:25:09.9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1"/>
      <ac:graphicFrameMk id="564" creationId="{00000000-0000-0000-0000-000000000000}"/>
    </ac:deMkLst>
    <p188:txBody>
      <a:bodyPr/>
      <a:lstStyle/>
      <a:p>
        <a:r>
          <a:rPr lang="en-US"/>
          <a:t>Sort by impact on kpmg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2ecbd9d9bc7_0_5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1" name="Google Shape;561;g2ecbd9d9bc7_0_5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9_0.xm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2ecbd9d9bc7_0_568"/>
          <p:cNvSpPr txBox="1"/>
          <p:nvPr/>
        </p:nvSpPr>
        <p:spPr>
          <a:xfrm>
            <a:off x="7986433" y="1688658"/>
            <a:ext cx="10431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ioritized for further analysis</a:t>
            </a:r>
            <a:endParaRPr/>
          </a:p>
        </p:txBody>
      </p:sp>
      <p:graphicFrame>
        <p:nvGraphicFramePr>
          <p:cNvPr id="564" name="Google Shape;564;g2ecbd9d9bc7_0_568"/>
          <p:cNvGraphicFramePr/>
          <p:nvPr>
            <p:extLst>
              <p:ext uri="{D42A27DB-BD31-4B8C-83A1-F6EECF244321}">
                <p14:modId xmlns:p14="http://schemas.microsoft.com/office/powerpoint/2010/main" val="3222277117"/>
              </p:ext>
            </p:extLst>
          </p:nvPr>
        </p:nvGraphicFramePr>
        <p:xfrm>
          <a:off x="457200" y="1176567"/>
          <a:ext cx="7409775" cy="29833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13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9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rend</a:t>
                      </a:r>
                      <a:endParaRPr/>
                    </a:p>
                  </a:txBody>
                  <a:tcPr marL="12875" marR="12875" marT="8575" marB="8575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miconductor industry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’s business lines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graphic diversification of supply chai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dustry recovery and normalizatio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creased cyberthrea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utomotive/semiconductor partnership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shortage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novations in manufacturing 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&amp; </a:t>
                      </a: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 (incl. application of AI)</a:t>
                      </a:r>
                      <a:endParaRPr sz="1200" dirty="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automotive sector (AV/EV)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edge computin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5G / 6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generative AI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SG and sustainability improvemen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etaverse growth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 dirty="0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65" name="Google Shape;565;g2ecbd9d9bc7_0_568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6" name="Google Shape;566;g2ecbd9d9bc7_0_568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67" name="Google Shape;567;g2ecbd9d9bc7_0_568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68" name="Google Shape;568;g2ecbd9d9bc7_0_568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4 priority trends were identified based on impact on the industry and </a:t>
            </a:r>
            <a:b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</a:b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n KPMG’s business line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pic>
        <p:nvPicPr>
          <p:cNvPr id="569" name="Google Shape;569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83547" y="154915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0" name="Google Shape;570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83547" y="174959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1" name="Google Shape;571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154915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2" name="Google Shape;572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195003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3" name="Google Shape;573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67771" y="215047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4" name="Google Shape;574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195003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5" name="Google Shape;575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350910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6" name="Google Shape;576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551348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7" name="Google Shape;577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75178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8" name="Google Shape;578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2952223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79" name="Google Shape;579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35309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0" name="Google Shape;580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3753975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1" name="Google Shape;581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395441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2" name="Google Shape;582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95441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3" name="Google Shape;583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353099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4" name="Google Shape;584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2952224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5" name="Google Shape;585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75178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6" name="Google Shape;586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551348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7" name="Google Shape;587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2350910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8" name="Google Shape;588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767771" y="3753975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9" name="Google Shape;589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1749596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90" name="Google Shape;590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83547" y="2150472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91" name="Google Shape;591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192857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92" name="Google Shape;592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67624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93" name="Google Shape;593;g2ecbd9d9bc7_0_568" descr="Harvey Balls 75%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70893" y="4320565"/>
            <a:ext cx="250799" cy="250799"/>
          </a:xfrm>
          <a:prstGeom prst="rect">
            <a:avLst/>
          </a:prstGeom>
          <a:noFill/>
          <a:ln>
            <a:noFill/>
          </a:ln>
        </p:spPr>
      </p:pic>
      <p:sp>
        <p:nvSpPr>
          <p:cNvPr id="594" name="Google Shape;594;g2ecbd9d9bc7_0_568"/>
          <p:cNvSpPr txBox="1"/>
          <p:nvPr/>
        </p:nvSpPr>
        <p:spPr>
          <a:xfrm>
            <a:off x="5366479" y="4307465"/>
            <a:ext cx="5991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High</a:t>
            </a:r>
            <a:endParaRPr/>
          </a:p>
        </p:txBody>
      </p:sp>
      <p:sp>
        <p:nvSpPr>
          <p:cNvPr id="595" name="Google Shape;595;g2ecbd9d9bc7_0_568"/>
          <p:cNvSpPr txBox="1"/>
          <p:nvPr/>
        </p:nvSpPr>
        <p:spPr>
          <a:xfrm>
            <a:off x="6248170" y="4307465"/>
            <a:ext cx="8592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dium</a:t>
            </a:r>
            <a:endParaRPr/>
          </a:p>
        </p:txBody>
      </p:sp>
      <p:sp>
        <p:nvSpPr>
          <p:cNvPr id="596" name="Google Shape;596;g2ecbd9d9bc7_0_568"/>
          <p:cNvSpPr txBox="1"/>
          <p:nvPr/>
        </p:nvSpPr>
        <p:spPr>
          <a:xfrm>
            <a:off x="7358366" y="4307465"/>
            <a:ext cx="540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Low</a:t>
            </a:r>
            <a:endParaRPr/>
          </a:p>
        </p:txBody>
      </p:sp>
      <p:cxnSp>
        <p:nvCxnSpPr>
          <p:cNvPr id="597" name="Google Shape;597;g2ecbd9d9bc7_0_568"/>
          <p:cNvCxnSpPr/>
          <p:nvPr/>
        </p:nvCxnSpPr>
        <p:spPr>
          <a:xfrm>
            <a:off x="7985240" y="1522935"/>
            <a:ext cx="0" cy="883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598" name="Google Shape;598;g2ecbd9d9bc7_0_568"/>
          <p:cNvSpPr txBox="1"/>
          <p:nvPr/>
        </p:nvSpPr>
        <p:spPr>
          <a:xfrm>
            <a:off x="362607" y="4168965"/>
            <a:ext cx="43434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mpact on semiconductor industry and relevance for KPMG’s business lines are based on qualitative analyses. Impact on semiconductor industry considers likelihood and impact of each trend</a:t>
            </a:r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9" name="Google Shape;599;g2ecbd9d9bc7_0_568"/>
          <p:cNvSpPr/>
          <p:nvPr/>
        </p:nvSpPr>
        <p:spPr>
          <a:xfrm>
            <a:off x="5092262" y="4276485"/>
            <a:ext cx="2806200" cy="3390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0" name="Google Shape;600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152661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1" name="Google Shape;601;g2ecbd9d9bc7_0_568" descr="Harvey Balls 50%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883547" y="355353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2" name="Google Shape;602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553537"/>
            <a:ext cx="207272" cy="207272"/>
          </a:xfrm>
          <a:prstGeom prst="rect">
            <a:avLst/>
          </a:prstGeom>
          <a:noFill/>
          <a:ln>
            <a:noFill/>
          </a:ln>
        </p:spPr>
      </p:pic>
      <p:pic>
        <p:nvPicPr>
          <p:cNvPr id="603" name="Google Shape;603;g2ecbd9d9bc7_0_568" descr="Harvey Balls 25% with solid fill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767771" y="3152662"/>
            <a:ext cx="207272" cy="2072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939D689B-3830-407C-98E3-2B7A4203564C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0</TotalTime>
  <Words>129</Words>
  <Application>Microsoft Office PowerPoint</Application>
  <PresentationFormat>On-screen Show (16:9)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Exo</vt:lpstr>
      <vt:lpstr>Arial</vt:lpstr>
      <vt:lpstr>Playfair Display SemiBold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18T21:28:08Z</dcterms:modified>
</cp:coreProperties>
</file>